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8"/>
  </p:notesMasterIdLst>
  <p:sldIdLst>
    <p:sldId id="3343" r:id="rId9"/>
    <p:sldId id="2147375028" r:id="rId10"/>
    <p:sldId id="2147375032" r:id="rId11"/>
    <p:sldId id="2147375030" r:id="rId12"/>
    <p:sldId id="2147375029" r:id="rId13"/>
    <p:sldId id="3346" r:id="rId14"/>
    <p:sldId id="2145705568" r:id="rId15"/>
    <p:sldId id="2145705566" r:id="rId16"/>
    <p:sldId id="2147375019" r:id="rId17"/>
    <p:sldId id="2147375017" r:id="rId18"/>
    <p:sldId id="2145705874" r:id="rId19"/>
    <p:sldId id="2145705878" r:id="rId20"/>
    <p:sldId id="2145705879" r:id="rId21"/>
    <p:sldId id="2145705900" r:id="rId22"/>
    <p:sldId id="2147375020" r:id="rId23"/>
    <p:sldId id="2145705872" r:id="rId24"/>
    <p:sldId id="2145705907" r:id="rId25"/>
    <p:sldId id="2147375014" r:id="rId26"/>
    <p:sldId id="2145705889" r:id="rId27"/>
    <p:sldId id="2147375021" r:id="rId28"/>
    <p:sldId id="2147375027" r:id="rId29"/>
    <p:sldId id="2147375000" r:id="rId30"/>
    <p:sldId id="2147375004" r:id="rId31"/>
    <p:sldId id="2147375005" r:id="rId32"/>
    <p:sldId id="2147375006" r:id="rId33"/>
    <p:sldId id="2147375007" r:id="rId34"/>
    <p:sldId id="2147375025" r:id="rId35"/>
    <p:sldId id="2147375031" r:id="rId36"/>
    <p:sldId id="2147375026" r:id="rId3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48"/>
    <p:restoredTop sz="94779"/>
  </p:normalViewPr>
  <p:slideViewPr>
    <p:cSldViewPr snapToGrid="0">
      <p:cViewPr varScale="1">
        <p:scale>
          <a:sx n="147" d="100"/>
          <a:sy n="147" d="100"/>
        </p:scale>
        <p:origin x="11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commentAuthors" Target="commentAuthor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2/1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8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8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emf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99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Feb 0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DEG vs DSG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28765</TotalTime>
  <Words>1093</Words>
  <Application>Microsoft Macintosh PowerPoint</Application>
  <PresentationFormat>Widescreen</PresentationFormat>
  <Paragraphs>399</Paragraphs>
  <Slides>2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9</vt:i4>
      </vt:variant>
    </vt:vector>
  </HeadingPairs>
  <TitlesOfParts>
    <vt:vector size="50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0</cp:revision>
  <dcterms:created xsi:type="dcterms:W3CDTF">2021-06-27T14:47:41Z</dcterms:created>
  <dcterms:modified xsi:type="dcterms:W3CDTF">2023-02-14T04:19:13Z</dcterms:modified>
</cp:coreProperties>
</file>